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6"/>
  </p:notesMasterIdLst>
  <p:sldIdLst>
    <p:sldId id="327" r:id="rId5"/>
    <p:sldId id="2147375523" r:id="rId6"/>
    <p:sldId id="2147375738" r:id="rId7"/>
    <p:sldId id="2147375744" r:id="rId8"/>
    <p:sldId id="2147375745" r:id="rId9"/>
    <p:sldId id="2147375748" r:id="rId10"/>
    <p:sldId id="2147375737" r:id="rId11"/>
    <p:sldId id="2147375752" r:id="rId12"/>
    <p:sldId id="2147375513" r:id="rId13"/>
    <p:sldId id="2147375739" r:id="rId14"/>
    <p:sldId id="2147375897" r:id="rId15"/>
  </p:sldIdLst>
  <p:sldSz cx="12192000" cy="6858000"/>
  <p:notesSz cx="6858000" cy="9144000"/>
  <p:custDataLst>
    <p:tags r:id="rId1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327"/>
            <p14:sldId id="2147375523"/>
            <p14:sldId id="2147375738"/>
            <p14:sldId id="2147375744"/>
            <p14:sldId id="2147375745"/>
            <p14:sldId id="2147375748"/>
            <p14:sldId id="2147375737"/>
            <p14:sldId id="2147375752"/>
            <p14:sldId id="2147375513"/>
            <p14:sldId id="2147375739"/>
            <p14:sldId id="2147375897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3C7A1"/>
    <a:srgbClr val="FF0000"/>
    <a:srgbClr val="7197FF"/>
    <a:srgbClr val="C30B3E"/>
    <a:srgbClr val="AAC1FF"/>
    <a:srgbClr val="007770"/>
    <a:srgbClr val="AEE7D7"/>
    <a:srgbClr val="F0C7D7"/>
    <a:srgbClr val="FDE7D2"/>
    <a:srgbClr val="CDC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196"/>
    <p:restoredTop sz="94626"/>
  </p:normalViewPr>
  <p:slideViewPr>
    <p:cSldViewPr snapToGrid="0" showGuides="1">
      <p:cViewPr varScale="1">
        <p:scale>
          <a:sx n="117" d="100"/>
          <a:sy n="117" d="100"/>
        </p:scale>
        <p:origin x="208" y="2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10/2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532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12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dirty="0"/>
              <a:t>Kattintson ide az alcím mintájának szerkesztéséhez</a:t>
            </a:r>
            <a:endParaRPr lang="en-US" dirty="0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0. 0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0. 0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10. 02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0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5.xml"/><Relationship Id="rId7" Type="http://schemas.openxmlformats.org/officeDocument/2006/relationships/hyperlink" Target="http://www.hypatos.ai/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1.xml"/><Relationship Id="rId6" Type="http://schemas.openxmlformats.org/officeDocument/2006/relationships/hyperlink" Target="mailto:yavuz.guney@hypatos.ai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36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63" Type="http://schemas.openxmlformats.org/officeDocument/2006/relationships/tags" Target="../tags/tag73.xml"/><Relationship Id="rId68" Type="http://schemas.openxmlformats.org/officeDocument/2006/relationships/tags" Target="../tags/tag78.xml"/><Relationship Id="rId16" Type="http://schemas.openxmlformats.org/officeDocument/2006/relationships/tags" Target="../tags/tag26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5" Type="http://schemas.openxmlformats.org/officeDocument/2006/relationships/tags" Target="../tags/tag15.xml"/><Relationship Id="rId61" Type="http://schemas.openxmlformats.org/officeDocument/2006/relationships/tags" Target="../tags/tag71.xml"/><Relationship Id="rId82" Type="http://schemas.openxmlformats.org/officeDocument/2006/relationships/oleObject" Target="../embeddings/oleObject10.bin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56" Type="http://schemas.openxmlformats.org/officeDocument/2006/relationships/tags" Target="../tags/tag66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77" Type="http://schemas.openxmlformats.org/officeDocument/2006/relationships/tags" Target="../tags/tag87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80" Type="http://schemas.openxmlformats.org/officeDocument/2006/relationships/slideLayout" Target="../slideLayouts/slideLayout3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tags" Target="../tags/tag56.xml"/><Relationship Id="rId59" Type="http://schemas.openxmlformats.org/officeDocument/2006/relationships/tags" Target="../tags/tag69.xml"/><Relationship Id="rId67" Type="http://schemas.openxmlformats.org/officeDocument/2006/relationships/tags" Target="../tags/tag77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54" Type="http://schemas.openxmlformats.org/officeDocument/2006/relationships/tags" Target="../tags/tag64.xml"/><Relationship Id="rId62" Type="http://schemas.openxmlformats.org/officeDocument/2006/relationships/tags" Target="../tags/tag72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83" Type="http://schemas.openxmlformats.org/officeDocument/2006/relationships/image" Target="../media/image15.emf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81" Type="http://schemas.openxmlformats.org/officeDocument/2006/relationships/notesSlide" Target="../notesSlides/notesSlide4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942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42033A8D-7A06-AC7C-6549-8B5CED99C1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561" r="3802" b="42448"/>
          <a:stretch/>
        </p:blipFill>
        <p:spPr bwMode="auto">
          <a:xfrm>
            <a:off x="2337026" y="313187"/>
            <a:ext cx="3458318" cy="467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45950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412140" y="1561830"/>
            <a:ext cx="3000846" cy="194694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/>
              </a:rPr>
              <a:t>Yavuz Güney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latin typeface="Open Sauce One" pitchFamily="2" charset="0"/>
              </a:rPr>
              <a:t>Implementation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43C7A1"/>
                </a:solidFill>
                <a:ea typeface="+mn-lt"/>
                <a:cs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avuz.guney@hypatos.ai</a:t>
            </a:r>
            <a:endParaRPr lang="en-US" sz="1200" dirty="0">
              <a:solidFill>
                <a:srgbClr val="43C7A1"/>
              </a:solidFill>
              <a:ea typeface="+mn-lt"/>
              <a:cs typeface="+mn-lt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latin typeface="Open Sauce One"/>
              </a:rPr>
              <a:t>+49 155 666 80146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33508" y="2941584"/>
            <a:ext cx="3718491" cy="3470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9731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0139312"/>
              </p:ext>
            </p:extLst>
          </p:nvPr>
        </p:nvGraphicFramePr>
        <p:xfrm>
          <a:off x="406268" y="1604864"/>
          <a:ext cx="11342819" cy="31048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27179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60802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495784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DE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DE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194976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4435155"/>
              </p:ext>
            </p:extLst>
          </p:nvPr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1223627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70008"/>
              </p:ext>
            </p:extLst>
          </p:nvPr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003681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292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953336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3" name="Object 242" hidden="1">
            <a:extLst>
              <a:ext uri="{FF2B5EF4-FFF2-40B4-BE49-F238E27FC236}">
                <a16:creationId xmlns:a16="http://schemas.microsoft.com/office/drawing/2014/main" id="{5596CA3F-D131-FFA1-C02F-8FA1E29B18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410" imgH="409" progId="TCLayout.ActiveDocument.1">
                  <p:embed/>
                </p:oleObj>
              </mc:Choice>
              <mc:Fallback>
                <p:oleObj name="think-cell Slide" r:id="rId82" imgW="410" imgH="409" progId="TCLayout.ActiveDocument.1">
                  <p:embed/>
                  <p:pic>
                    <p:nvPicPr>
                      <p:cNvPr id="243" name="Object 242" hidden="1">
                        <a:extLst>
                          <a:ext uri="{FF2B5EF4-FFF2-40B4-BE49-F238E27FC236}">
                            <a16:creationId xmlns:a16="http://schemas.microsoft.com/office/drawing/2014/main" id="{5596CA3F-D131-FFA1-C02F-8FA1E29B1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>
            <a:extLst>
              <a:ext uri="{FF2B5EF4-FFF2-40B4-BE49-F238E27FC236}">
                <a16:creationId xmlns:a16="http://schemas.microsoft.com/office/drawing/2014/main" id="{DEC825AE-CA31-0A87-DFC2-59E1DE956232}"/>
              </a:ext>
            </a:extLst>
          </p:cNvPr>
          <p:cNvSpPr/>
          <p:nvPr/>
        </p:nvSpPr>
        <p:spPr>
          <a:xfrm>
            <a:off x="311943" y="6276652"/>
            <a:ext cx="1303338" cy="4619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ím 1">
            <a:extLst>
              <a:ext uri="{FF2B5EF4-FFF2-40B4-BE49-F238E27FC236}">
                <a16:creationId xmlns:a16="http://schemas.microsoft.com/office/drawing/2014/main" id="{357EAC47-4212-6520-05F3-B3E600C73D0C}"/>
              </a:ext>
            </a:extLst>
          </p:cNvPr>
          <p:cNvSpPr txBox="1">
            <a:spLocks/>
          </p:cNvSpPr>
          <p:nvPr/>
        </p:nvSpPr>
        <p:spPr>
          <a:xfrm>
            <a:off x="407988" y="192337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itchFamily="2" charset="0"/>
                <a:ea typeface="+mj-ea"/>
                <a:cs typeface="+mj-cs"/>
              </a:rPr>
              <a:t>Pilot High Level Project Plan</a:t>
            </a:r>
          </a:p>
        </p:txBody>
      </p:sp>
      <p:sp>
        <p:nvSpPr>
          <p:cNvPr id="262" name="Textplatzhalter 2">
            <a:extLst>
              <a:ext uri="{FF2B5EF4-FFF2-40B4-BE49-F238E27FC236}">
                <a16:creationId xmlns:a16="http://schemas.microsoft.com/office/drawing/2014/main" id="{89C2D09B-B3BE-5694-5149-BB8831F2319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805238" y="1470025"/>
            <a:ext cx="5451475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156718E-E283-4B27-A7BC-989EF68B9903}" type="datetime'''''''''''''''''''''''''''20''''''''''''2''''''4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4</a:t>
            </a:fld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F759CACB-F50E-425B-A26A-1F99DCC958B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805238" y="1641475"/>
            <a:ext cx="919163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488092D-C707-4F38-956C-0DF4685ACB5F}" type="datetime'''J''''''''''''u''l'''''''''''''''''">
              <a:rPr lang="en-GB" altLang="en-US" sz="1000" b="1" smtClean="0">
                <a:solidFill>
                  <a:srgbClr val="000000"/>
                </a:solidFill>
                <a:latin typeface="Open Sauce One" panose="020B060402020202020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Jul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52DB93FA-A458-F6C8-E18A-32E25875AC3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724400" y="1641475"/>
            <a:ext cx="917575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75F1E5F-AD75-4A44-A8C4-96BFA6ABD32F}" type="datetime'''''''''''A''''''''''ug'''''''''">
              <a:rPr lang="en-GB" altLang="en-US" sz="1000" b="1" smtClean="0">
                <a:solidFill>
                  <a:srgbClr val="000000"/>
                </a:solidFill>
                <a:latin typeface="Open Sauce One" panose="020B060402020202020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ug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56F14717-3CEE-4D83-1425-E0BA38E2F64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641974" y="1641475"/>
            <a:ext cx="889000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6BF63BE-7AD7-4F9C-989D-06155F598857}" type="datetime'S''''''''''''''''''''''''''e''''''''''''''p'''''''''''''''''''">
              <a:rPr lang="en-GB" altLang="en-US" sz="1000" b="1" smtClean="0">
                <a:solidFill>
                  <a:srgbClr val="000000"/>
                </a:solidFill>
                <a:latin typeface="Open Sauce One" panose="020B060402020202020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Sep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661AEE27-7252-2718-F531-1E07CB4052C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530975" y="1641475"/>
            <a:ext cx="919163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B0D5BB6-6F7A-4C06-AFD0-FB4D317D257C}" type="datetime'O''''c''''''''''''''t'''''''''''''''''''''">
              <a:rPr lang="en-GB" altLang="en-US" sz="1000" b="1" smtClean="0">
                <a:solidFill>
                  <a:srgbClr val="000000"/>
                </a:solidFill>
                <a:latin typeface="Open Sauce One" panose="020B060402020202020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Oct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95AE9937-F2DD-2A0B-1E8D-8508CEBD6BA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50138" y="1641475"/>
            <a:ext cx="887413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FD1C3B5-0F9D-41F3-B8A1-E12F4C166956}" type="datetime'''''''N''''''''''''''''''''''o''''''''v'''''''''''''''''">
              <a:rPr lang="en-GB" altLang="en-US" sz="1000" b="1" smtClean="0">
                <a:solidFill>
                  <a:srgbClr val="000000"/>
                </a:solidFill>
                <a:latin typeface="Open Sauce One" panose="020B060402020202020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Nov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D28017BD-AFC2-11D8-42BF-FCE0C253D1F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37550" y="1641475"/>
            <a:ext cx="919163" cy="1714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0329D1A-9CAE-4B3D-8CA3-CCB96EADCF35}" type="datetime'''''''''''''''''''''''''''''D''e''''''''''''''''c'''''''''">
              <a:rPr lang="en-GB" altLang="en-US" sz="1000" b="1" smtClean="0">
                <a:solidFill>
                  <a:srgbClr val="000000"/>
                </a:solidFill>
                <a:latin typeface="Open Sauce One" panose="020B060402020202020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ec</a:t>
            </a:fld>
            <a:endParaRPr kumimoji="0" lang="en-GB" sz="10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72D2352-924B-52D3-AF7A-B7EC3247215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805238" y="1812926"/>
            <a:ext cx="0" cy="3851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37EA0CA5-5421-40B7-D307-FF02CD8A73B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9256713" y="1812926"/>
            <a:ext cx="0" cy="3851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6F631C9-3E6A-66A7-8EA6-A396AFB1B0E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641975" y="1812925"/>
            <a:ext cx="0" cy="3851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A00A0F75-28C2-94F6-E8E8-77DBFB15A5B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450138" y="1812926"/>
            <a:ext cx="0" cy="3851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4F11F9A-87E0-362C-C3C5-E904F096AD3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1480800" y="1812926"/>
            <a:ext cx="0" cy="3851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93A45C84-0ACC-7DBA-3091-5DF65478734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377950" y="1812926"/>
            <a:ext cx="0" cy="38512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91700B9-D027-6C26-A580-930E559DEAE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530975" y="1812926"/>
            <a:ext cx="0" cy="3851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3A09031-61FB-9489-3882-46361471922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337550" y="1812926"/>
            <a:ext cx="0" cy="3851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B7D5624E-2739-AE45-B568-FB59E10D087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377950" y="2516188"/>
            <a:ext cx="10102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8854A52-175D-71B6-7B36-0753AADE7077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377950" y="5664200"/>
            <a:ext cx="101028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3F62DA5-31F9-E9F0-65D1-D067AFE3781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256213" y="1812925"/>
            <a:ext cx="0" cy="40147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55DB9D6-E1B5-C351-26FD-E2FE597225A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256213" y="1812925"/>
            <a:ext cx="0" cy="40147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6FD0E7F2-2607-E50F-D9AD-C4C55113D99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583238" y="1812925"/>
            <a:ext cx="0" cy="40147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78E2BB36-0A3A-A229-88D3-588A1C8C06D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4724400" y="1812925"/>
            <a:ext cx="0" cy="40147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815306BE-7CB6-79CA-0E6A-B41825A059D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782050" y="1812925"/>
            <a:ext cx="0" cy="40147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C944185-C588-7E6F-7F79-9D294D051D26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5434013" y="1812925"/>
            <a:ext cx="0" cy="40147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0ED0ED5-9CEE-FEE1-6A0C-EEB9EBBD00B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377950" y="1812925"/>
            <a:ext cx="101028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101">
            <a:extLst>
              <a:ext uri="{FF2B5EF4-FFF2-40B4-BE49-F238E27FC236}">
                <a16:creationId xmlns:a16="http://schemas.microsoft.com/office/drawing/2014/main" id="{5FEE55E3-9D49-565D-2948-2C839BC3CC99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789613" y="3681413"/>
            <a:ext cx="1216025" cy="98425"/>
          </a:xfrm>
          <a:prstGeom prst="rect">
            <a:avLst/>
          </a:prstGeom>
          <a:solidFill>
            <a:srgbClr val="3F3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4623F5D0-C5F6-46E7-2E66-80081D781522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102100" y="2725738"/>
            <a:ext cx="1687513" cy="98425"/>
          </a:xfrm>
          <a:prstGeom prst="rect">
            <a:avLst/>
          </a:prstGeom>
          <a:solidFill>
            <a:srgbClr val="3F3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E2420989-3205-A857-BE5E-AF8A9CA30EDA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789613" y="3263900"/>
            <a:ext cx="1216025" cy="98425"/>
          </a:xfrm>
          <a:prstGeom prst="rect">
            <a:avLst/>
          </a:prstGeom>
          <a:solidFill>
            <a:srgbClr val="3F3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890555FB-20FA-76B9-FA33-BE70BD961B3A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6916738" y="4919663"/>
            <a:ext cx="2281238" cy="98425"/>
          </a:xfrm>
          <a:prstGeom prst="rect">
            <a:avLst/>
          </a:prstGeom>
          <a:solidFill>
            <a:srgbClr val="3F3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64EC3AE-D00D-E034-DBC4-AD97E2C956D8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5286375" y="4502150"/>
            <a:ext cx="1630363" cy="98425"/>
          </a:xfrm>
          <a:prstGeom prst="rect">
            <a:avLst/>
          </a:prstGeom>
          <a:solidFill>
            <a:srgbClr val="3F3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49A7A14-4517-1B79-047E-2449720D49F1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086475" y="4084638"/>
            <a:ext cx="919163" cy="98425"/>
          </a:xfrm>
          <a:prstGeom prst="rect">
            <a:avLst/>
          </a:prstGeom>
          <a:solidFill>
            <a:srgbClr val="3F3F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7" name="Arrow: Right 296">
            <a:extLst>
              <a:ext uri="{FF2B5EF4-FFF2-40B4-BE49-F238E27FC236}">
                <a16:creationId xmlns:a16="http://schemas.microsoft.com/office/drawing/2014/main" id="{407A5D74-1753-BE25-690B-1A14265CC1B1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102099" y="1973263"/>
            <a:ext cx="5270500" cy="1968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3F3FE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566FE5F1-0266-2072-6395-343BAF6D9052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916738" y="5338763"/>
            <a:ext cx="2281238" cy="98425"/>
          </a:xfrm>
          <a:prstGeom prst="rect">
            <a:avLst/>
          </a:prstGeom>
          <a:solidFill>
            <a:srgbClr val="3F3FE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Isosceles Triangle 108">
            <a:extLst>
              <a:ext uri="{FF2B5EF4-FFF2-40B4-BE49-F238E27FC236}">
                <a16:creationId xmlns:a16="http://schemas.microsoft.com/office/drawing/2014/main" id="{CD809C4A-1FFD-DC87-42A4-9B8D5005E282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8724900" y="5770563"/>
            <a:ext cx="114300" cy="1143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riangle 73">
            <a:extLst>
              <a:ext uri="{FF2B5EF4-FFF2-40B4-BE49-F238E27FC236}">
                <a16:creationId xmlns:a16="http://schemas.microsoft.com/office/drawing/2014/main" id="{0941E879-7FB0-EA0F-B663-EE7FABF8753B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5526088" y="5770563"/>
            <a:ext cx="114300" cy="1143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riangle 53">
            <a:extLst>
              <a:ext uri="{FF2B5EF4-FFF2-40B4-BE49-F238E27FC236}">
                <a16:creationId xmlns:a16="http://schemas.microsoft.com/office/drawing/2014/main" id="{5D76FB29-052E-0303-25B6-0074EF10D18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5376863" y="5770563"/>
            <a:ext cx="114300" cy="1143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BFF9F6DA-CBC1-99B4-E64F-67C8243783B4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5199063" y="5770563"/>
            <a:ext cx="114300" cy="1143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Isosceles Triangle 76">
            <a:extLst>
              <a:ext uri="{FF2B5EF4-FFF2-40B4-BE49-F238E27FC236}">
                <a16:creationId xmlns:a16="http://schemas.microsoft.com/office/drawing/2014/main" id="{A824CF21-7019-BC3A-0C78-C116CDCFD103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5199063" y="5770563"/>
            <a:ext cx="114300" cy="1143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672CD2CF-89C5-FFED-CDD0-C1B304936C69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4667250" y="5770563"/>
            <a:ext cx="114300" cy="1143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Diamond 114">
            <a:extLst>
              <a:ext uri="{FF2B5EF4-FFF2-40B4-BE49-F238E27FC236}">
                <a16:creationId xmlns:a16="http://schemas.microsoft.com/office/drawing/2014/main" id="{0608E56A-0C90-0B8D-BE0F-A598AA452050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5732463" y="2717800"/>
            <a:ext cx="114300" cy="114300"/>
          </a:xfrm>
          <a:prstGeom prst="diamond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Diamond 89">
            <a:extLst>
              <a:ext uri="{FF2B5EF4-FFF2-40B4-BE49-F238E27FC236}">
                <a16:creationId xmlns:a16="http://schemas.microsoft.com/office/drawing/2014/main" id="{F141271F-505C-E29D-0FCB-B5C8BC72083F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6859588" y="4494213"/>
            <a:ext cx="114300" cy="114300"/>
          </a:xfrm>
          <a:prstGeom prst="diamond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A1142B80-57CE-E91B-CA58-78721BF264CC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 flipH="1" flipV="1">
            <a:off x="5583238" y="5907088"/>
            <a:ext cx="735013" cy="46037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BF8EA6D-4E44-EE89-B6EA-4DEC05C57AC3}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 bwMode="gray">
          <a:xfrm flipV="1">
            <a:off x="4316413" y="5907088"/>
            <a:ext cx="407988" cy="46037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F8AF8A7-98A8-0B04-957A-923B822D44C3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 flipV="1">
            <a:off x="4679950" y="5907087"/>
            <a:ext cx="576263" cy="46038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8746B78A-1FE8-3294-C5A3-1AA3057F4F19}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 bwMode="gray">
          <a:xfrm flipV="1">
            <a:off x="4995863" y="5907087"/>
            <a:ext cx="260350" cy="46038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4F9BECA-7CD6-7789-A1B9-4697DE442AEC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 flipH="1" flipV="1">
            <a:off x="5434013" y="5907088"/>
            <a:ext cx="166688" cy="46037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2EC03F44-B966-665F-EBBC-570E70DCB3B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428750" y="4075113"/>
            <a:ext cx="232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de-DE" altLang="en-US" sz="1000">
                <a:solidFill>
                  <a:srgbClr val="000000"/>
                </a:solidFill>
                <a:latin typeface="Open Sauce One" panose="020B0604020202020204" charset="0"/>
              </a:rPr>
              <a:t>System </a:t>
            </a:r>
            <a:r>
              <a:rPr lang="de-DE" altLang="en-US" sz="1000" err="1">
                <a:solidFill>
                  <a:srgbClr val="000000"/>
                </a:solidFill>
                <a:latin typeface="Open Sauce One" panose="020B0604020202020204" charset="0"/>
              </a:rPr>
              <a:t>integration</a:t>
            </a:r>
            <a:r>
              <a:rPr lang="de-DE" altLang="en-US" sz="1000">
                <a:solidFill>
                  <a:srgbClr val="000000"/>
                </a:solidFill>
                <a:latin typeface="Open Sauce One" panose="020B0604020202020204" charset="0"/>
              </a:rPr>
              <a:t> &amp; </a:t>
            </a:r>
            <a:r>
              <a:rPr lang="de-DE" altLang="en-US" sz="1000" err="1">
                <a:solidFill>
                  <a:srgbClr val="000000"/>
                </a:solidFill>
                <a:latin typeface="Open Sauce One" panose="020B0604020202020204" charset="0"/>
              </a:rPr>
              <a:t>technical</a:t>
            </a:r>
            <a:r>
              <a:rPr lang="de-DE" altLang="en-US" sz="1000">
                <a:solidFill>
                  <a:srgbClr val="000000"/>
                </a:solidFill>
                <a:latin typeface="Open Sauce One" panose="020B0604020202020204" charset="0"/>
              </a:rPr>
              <a:t> in </a:t>
            </a:r>
            <a:r>
              <a:rPr lang="de-DE" altLang="en-US" sz="1000" err="1">
                <a:solidFill>
                  <a:srgbClr val="000000"/>
                </a:solidFill>
                <a:latin typeface="Open Sauce One" panose="020B0604020202020204" charset="0"/>
              </a:rPr>
              <a:t>test</a:t>
            </a:r>
            <a:r>
              <a:rPr lang="de-DE" altLang="en-US" sz="1000">
                <a:solidFill>
                  <a:srgbClr val="000000"/>
                </a:solidFill>
                <a:latin typeface="Open Sauce One" panose="020B0604020202020204" charset="0"/>
              </a:rPr>
              <a:t> </a:t>
            </a:r>
            <a:r>
              <a:rPr lang="de-DE" altLang="en-US" sz="1000" err="1">
                <a:solidFill>
                  <a:srgbClr val="000000"/>
                </a:solidFill>
                <a:latin typeface="Open Sauce One" panose="020B0604020202020204" charset="0"/>
              </a:rPr>
              <a:t>system</a:t>
            </a:r>
            <a:endParaRPr kumimoji="0" lang="de-DE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0BA9EF2B-78D6-85EB-2710-7F4ADBD118C2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423400" y="4075113"/>
            <a:ext cx="136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000">
                <a:solidFill>
                  <a:srgbClr val="000000"/>
                </a:solidFill>
                <a:latin typeface="Open Sauce One" panose="020B0604020202020204" charset="0"/>
              </a:rPr>
              <a:t>Hy</a:t>
            </a:r>
            <a:endParaRPr kumimoji="0" lang="en-GB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sym typeface="Lato" panose="020F0502020204030203" pitchFamily="34" charset="0"/>
            </a:endParaRPr>
          </a:p>
        </p:txBody>
      </p:sp>
      <p:sp>
        <p:nvSpPr>
          <p:cNvPr id="81" name="Szöveg helye 2">
            <a:extLst>
              <a:ext uri="{FF2B5EF4-FFF2-40B4-BE49-F238E27FC236}">
                <a16:creationId xmlns:a16="http://schemas.microsoft.com/office/drawing/2014/main" id="{4EBEF52D-A1A2-ED6F-61E1-4B8423F8C703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0317163" y="4075113"/>
            <a:ext cx="93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IT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67" name="Szöveg helye 2">
            <a:extLst>
              <a:ext uri="{FF2B5EF4-FFF2-40B4-BE49-F238E27FC236}">
                <a16:creationId xmlns:a16="http://schemas.microsoft.com/office/drawing/2014/main" id="{5459C1A0-1723-DC79-5491-CE9689AB393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0317163" y="2716213"/>
            <a:ext cx="928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PMO + Tax &amp; SME</a:t>
            </a:r>
            <a:endParaRPr lang="en-US" sz="1000">
              <a:sym typeface="Lato" panose="020F0502020204030203" pitchFamily="34" charset="0"/>
            </a:endParaRPr>
          </a:p>
        </p:txBody>
      </p:sp>
      <p:sp useBgFill="1">
        <p:nvSpPr>
          <p:cNvPr id="88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015163" y="4445000"/>
            <a:ext cx="8143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effectLst/>
                <a:sym typeface="Lato" panose="020F0502020204030203" pitchFamily="34" charset="0"/>
              </a:rPr>
              <a:t>Go-live decision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B3208C5-0A57-83F5-7860-A6B780F89755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423400" y="2716213"/>
            <a:ext cx="814388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altLang="en-US" sz="1000">
                <a:solidFill>
                  <a:srgbClr val="000000"/>
                </a:solidFill>
                <a:latin typeface="Open Sauce One"/>
                <a:sym typeface="Lato" panose="020F0502020204030203" pitchFamily="34" charset="0"/>
              </a:rPr>
              <a:t>KWS/PWC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/>
                <a:sym typeface="Lato" panose="020F0502020204030203" pitchFamily="34" charset="0"/>
              </a:rPr>
              <a:t> &amp; Hy</a:t>
            </a:r>
            <a:endParaRPr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208" name="Textplatzhalter 2">
            <a:extLst>
              <a:ext uri="{FF2B5EF4-FFF2-40B4-BE49-F238E27FC236}">
                <a16:creationId xmlns:a16="http://schemas.microsoft.com/office/drawing/2014/main" id="{DE9FA26C-5204-8A44-7FC4-5F78DC21C0E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428750" y="4492625"/>
            <a:ext cx="1131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000">
                <a:solidFill>
                  <a:srgbClr val="000000"/>
                </a:solidFill>
                <a:latin typeface="Open Sauce One" panose="020B0604020202020204" charset="0"/>
                <a:sym typeface="Lato" panose="020F0502020204030203" pitchFamily="34" charset="0"/>
              </a:rPr>
              <a:t>U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ser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training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</a:t>
            </a:r>
            <a:r>
              <a:rPr kumimoji="0" lang="de-DE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and UAT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8CFDEFD-E84A-95FF-2377-DA1E233A6A5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9423400" y="4492625"/>
            <a:ext cx="8143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000">
                <a:solidFill>
                  <a:srgbClr val="000000"/>
                </a:solidFill>
                <a:latin typeface="Open Sauce One"/>
                <a:sym typeface="Lato" panose="020F0502020204030203" pitchFamily="34" charset="0"/>
              </a:rPr>
              <a:t>KWS/PWC 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/>
                <a:sym typeface="Lato" panose="020F0502020204030203" pitchFamily="34" charset="0"/>
              </a:rPr>
              <a:t>&amp; Hy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/>
              <a:sym typeface="Lato" panose="020F0502020204030203" pitchFamily="34" charset="0"/>
            </a:endParaRPr>
          </a:p>
        </p:txBody>
      </p:sp>
      <p:sp>
        <p:nvSpPr>
          <p:cNvPr id="93" name="Szöveg helye 2">
            <a:extLst>
              <a:ext uri="{FF2B5EF4-FFF2-40B4-BE49-F238E27FC236}">
                <a16:creationId xmlns:a16="http://schemas.microsoft.com/office/drawing/2014/main" id="{7E7FC530-76CD-F801-15DB-AA349E1B86A3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0317163" y="4492625"/>
            <a:ext cx="681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Business &amp; IT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201" name="Textplatzhalter 2">
            <a:extLst>
              <a:ext uri="{FF2B5EF4-FFF2-40B4-BE49-F238E27FC236}">
                <a16:creationId xmlns:a16="http://schemas.microsoft.com/office/drawing/2014/main" id="{6E973AB7-C047-C52D-0FE6-0190C47FC6D8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428751" y="2716213"/>
            <a:ext cx="170656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Solution,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integration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design, SAP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connector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installation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6B8C28DF-8DBC-A412-13A2-481D407956D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428750" y="4910138"/>
            <a:ext cx="13795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Productive</a:t>
            </a:r>
            <a:r>
              <a:rPr kumimoji="0" lang="de-DE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 </a:t>
            </a:r>
            <a:r>
              <a:rPr kumimoji="0" lang="de-DE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pilot</a:t>
            </a:r>
            <a:r>
              <a:rPr kumimoji="0" lang="de-DE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 </a:t>
            </a:r>
            <a:r>
              <a:rPr kumimoji="0" lang="de-DE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test</a:t>
            </a:r>
            <a:r>
              <a:rPr kumimoji="0" lang="de-DE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 </a:t>
            </a:r>
            <a:r>
              <a:rPr kumimoji="0" lang="de-DE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phase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6BB09EEC-3F0C-DE94-B84B-F5B0E966D0F5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423400" y="4910138"/>
            <a:ext cx="8429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000">
                <a:solidFill>
                  <a:srgbClr val="000000"/>
                </a:solidFill>
                <a:latin typeface="Open Sauce One"/>
                <a:sym typeface="Lato" panose="020F0502020204030203" pitchFamily="34" charset="0"/>
              </a:rPr>
              <a:t>KWS/PWC  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/>
                <a:sym typeface="Lato" panose="020F0502020204030203" pitchFamily="34" charset="0"/>
              </a:rPr>
              <a:t>&amp; Hy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/>
              <a:sym typeface="Lato" panose="020F0502020204030203" pitchFamily="34" charset="0"/>
            </a:endParaRPr>
          </a:p>
        </p:txBody>
      </p:sp>
      <p:sp>
        <p:nvSpPr>
          <p:cNvPr id="98" name="Szöveg helye 2">
            <a:extLst>
              <a:ext uri="{FF2B5EF4-FFF2-40B4-BE49-F238E27FC236}">
                <a16:creationId xmlns:a16="http://schemas.microsoft.com/office/drawing/2014/main" id="{31001F60-1412-82A4-FF69-300488AA43A7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317164" y="4910138"/>
            <a:ext cx="257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PMO</a:t>
            </a:r>
            <a:endParaRPr lang="en-US" sz="1000">
              <a:sym typeface="Lato" panose="020F0502020204030203" pitchFamily="34" charset="0"/>
            </a:endParaRPr>
          </a:p>
        </p:txBody>
      </p:sp>
      <p:sp useBgFill="1">
        <p:nvSpPr>
          <p:cNvPr id="11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888038" y="2668588"/>
            <a:ext cx="1560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effectLst/>
              </a:rPr>
              <a:t>Pilot solution design approved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214" name="Textplatzhalter 2">
            <a:extLst>
              <a:ext uri="{FF2B5EF4-FFF2-40B4-BE49-F238E27FC236}">
                <a16:creationId xmlns:a16="http://schemas.microsoft.com/office/drawing/2014/main" id="{4BEBD6A8-CD9E-325F-8CAD-0F0223C21BB2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428750" y="5329238"/>
            <a:ext cx="533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Hypercare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375DA5D-848C-6B56-9C18-D7385BED3E1C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423400" y="5329238"/>
            <a:ext cx="136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Hy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217" name="Textplatzhalter 2">
            <a:extLst>
              <a:ext uri="{FF2B5EF4-FFF2-40B4-BE49-F238E27FC236}">
                <a16:creationId xmlns:a16="http://schemas.microsoft.com/office/drawing/2014/main" id="{40DC6B47-C99A-9E9E-B685-7A1B2E2FCBC3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428751" y="1658938"/>
            <a:ext cx="4873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alt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/>
              </a:rPr>
              <a:t>Activities</a:t>
            </a:r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/>
            </a:endParaRPr>
          </a:p>
        </p:txBody>
      </p:sp>
      <p:sp>
        <p:nvSpPr>
          <p:cNvPr id="218" name="Textplatzhalter 2">
            <a:extLst>
              <a:ext uri="{FF2B5EF4-FFF2-40B4-BE49-F238E27FC236}">
                <a16:creationId xmlns:a16="http://schemas.microsoft.com/office/drawing/2014/main" id="{7F4BB805-0FFF-8E90-BEF1-4A721456FBE7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423400" y="1658938"/>
            <a:ext cx="636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F45DB8A-CB9B-4345-AC3B-CA9E219F8A33}" type="datetime'R''''e''s''''''''''p''''o''''''''''''ns''''''i''''b''''''le'">
              <a:rPr kumimoji="0" lang="en-GB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esponsible</a:t>
            </a:fld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0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0317163" y="1582738"/>
            <a:ext cx="1112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>
                <a:effectLst/>
                <a:latin typeface="Open Sauce One"/>
                <a:sym typeface="Lato" panose="020F0502020204030203" pitchFamily="34" charset="0"/>
              </a:rPr>
              <a:t>Resources </a:t>
            </a:r>
            <a:r>
              <a:rPr lang="en-US" altLang="en-US" sz="1000" b="1">
                <a:latin typeface="Open Sauce One"/>
                <a:sym typeface="Lato" panose="020F0502020204030203" pitchFamily="34" charset="0"/>
              </a:rPr>
              <a:t>KWS/PWC</a:t>
            </a:r>
            <a:endParaRPr lang="en-US" sz="1000" b="1">
              <a:sym typeface="Lato" panose="020F0502020204030203" pitchFamily="34" charset="0"/>
            </a:endParaRPr>
          </a:p>
        </p:txBody>
      </p:sp>
      <p:sp>
        <p:nvSpPr>
          <p:cNvPr id="52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0317164" y="2012950"/>
            <a:ext cx="7096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effectLst/>
                <a:sym typeface="Lato" panose="020F0502020204030203" pitchFamily="34" charset="0"/>
              </a:rPr>
              <a:t>Business &amp; IT </a:t>
            </a:r>
            <a:br>
              <a:rPr lang="en-US" altLang="en-US" sz="1000">
                <a:effectLst/>
                <a:sym typeface="Lato" panose="020F0502020204030203" pitchFamily="34" charset="0"/>
              </a:rPr>
            </a:b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224" name="Textplatzhalter 2">
            <a:extLst>
              <a:ext uri="{FF2B5EF4-FFF2-40B4-BE49-F238E27FC236}">
                <a16:creationId xmlns:a16="http://schemas.microsoft.com/office/drawing/2014/main" id="{AA214B3C-2937-0C4B-EFFF-5D6C3C421683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9423400" y="2012950"/>
            <a:ext cx="8143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sz="1000">
                <a:solidFill>
                  <a:srgbClr val="000000"/>
                </a:solidFill>
                <a:latin typeface="Open Sauce One"/>
                <a:sym typeface="Lato" panose="020F0502020204030203" pitchFamily="34" charset="0"/>
              </a:rPr>
              <a:t>KWS/PWC 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/>
                <a:sym typeface="Lato" panose="020F0502020204030203" pitchFamily="34" charset="0"/>
              </a:rPr>
              <a:t>&amp; Hy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/>
              <a:sym typeface="Lato" panose="020F0502020204030203" pitchFamily="34" charset="0"/>
            </a:endParaRPr>
          </a:p>
        </p:txBody>
      </p:sp>
      <p:sp>
        <p:nvSpPr>
          <p:cNvPr id="223" name="Textplatzhalter 2">
            <a:extLst>
              <a:ext uri="{FF2B5EF4-FFF2-40B4-BE49-F238E27FC236}">
                <a16:creationId xmlns:a16="http://schemas.microsoft.com/office/drawing/2014/main" id="{764DA877-6048-397C-ED97-F5E1FBD16C94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428750" y="2012950"/>
            <a:ext cx="10890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Project Management</a:t>
            </a:r>
            <a:endParaRPr kumimoji="0" lang="en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104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8347075" y="5953125"/>
            <a:ext cx="8699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Roll-out Decision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206" name="Textplatzhalter 2">
            <a:extLst>
              <a:ext uri="{FF2B5EF4-FFF2-40B4-BE49-F238E27FC236}">
                <a16:creationId xmlns:a16="http://schemas.microsoft.com/office/drawing/2014/main" id="{BF94233F-569A-4832-C21B-345B5B6A5644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428750" y="3254375"/>
            <a:ext cx="18891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Prompt design and AI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model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training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39" name="Szöveg helye 2">
            <a:extLst>
              <a:ext uri="{FF2B5EF4-FFF2-40B4-BE49-F238E27FC236}">
                <a16:creationId xmlns:a16="http://schemas.microsoft.com/office/drawing/2014/main" id="{AA45A2A5-41BD-03BA-FAF6-3943E0A8EC72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5311775" y="5953124"/>
            <a:ext cx="5794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Functional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Workshops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202" name="Textplatzhalter 2">
            <a:extLst>
              <a:ext uri="{FF2B5EF4-FFF2-40B4-BE49-F238E27FC236}">
                <a16:creationId xmlns:a16="http://schemas.microsoft.com/office/drawing/2014/main" id="{433799D3-B7EE-24A1-9A69-2666A9371ED2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9423400" y="3671888"/>
            <a:ext cx="136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Hy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53" name="Szöveg helye 2">
            <a:extLst>
              <a:ext uri="{FF2B5EF4-FFF2-40B4-BE49-F238E27FC236}">
                <a16:creationId xmlns:a16="http://schemas.microsoft.com/office/drawing/2014/main" id="{7C740982-ACBB-4148-88E8-946EA5925428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4730750" y="5953124"/>
            <a:ext cx="53022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Technical 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latin typeface="Open Sauce One"/>
              </a:rPr>
              <a:t>Workshop</a:t>
            </a:r>
            <a:endParaRPr lang="en-US" altLang="en-US" sz="1000"/>
          </a:p>
        </p:txBody>
      </p:sp>
      <p:sp>
        <p:nvSpPr>
          <p:cNvPr id="209" name="Textplatzhalter 2">
            <a:extLst>
              <a:ext uri="{FF2B5EF4-FFF2-40B4-BE49-F238E27FC236}">
                <a16:creationId xmlns:a16="http://schemas.microsoft.com/office/drawing/2014/main" id="{050B81E8-DF12-CAD5-BD4E-356298DD78A4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428750" y="3671888"/>
            <a:ext cx="20399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Hypatos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Studio &amp;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Insights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  <a:sym typeface="Lato" panose="020F0502020204030203" pitchFamily="34" charset="0"/>
              </a:rPr>
              <a:t>configuration</a:t>
            </a:r>
            <a:endParaRPr kumimoji="0" lang="en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89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4367213" y="5953125"/>
            <a:ext cx="312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effectLst/>
                <a:sym typeface="Lato" panose="020F0502020204030203" pitchFamily="34" charset="0"/>
              </a:rPr>
              <a:t>Today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70" name="Szöveg helye 2">
            <a:extLst>
              <a:ext uri="{FF2B5EF4-FFF2-40B4-BE49-F238E27FC236}">
                <a16:creationId xmlns:a16="http://schemas.microsoft.com/office/drawing/2014/main" id="{65ED5487-8CA0-A0A4-6C8D-C862D8CD929D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5942013" y="5953124"/>
            <a:ext cx="7540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ym typeface="Lato" panose="020F0502020204030203" pitchFamily="34" charset="0"/>
              </a:rPr>
              <a:t>Requirements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ym typeface="Lato" panose="020F0502020204030203" pitchFamily="34" charset="0"/>
              </a:rPr>
              <a:t>Gathering</a:t>
            </a:r>
          </a:p>
        </p:txBody>
      </p:sp>
      <p:sp>
        <p:nvSpPr>
          <p:cNvPr id="72" name="Szöveg helye 2">
            <a:extLst>
              <a:ext uri="{FF2B5EF4-FFF2-40B4-BE49-F238E27FC236}">
                <a16:creationId xmlns:a16="http://schemas.microsoft.com/office/drawing/2014/main" id="{F801FC1F-4D6B-B567-D040-78EAFB9D5856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10317163" y="3254375"/>
            <a:ext cx="928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PMO + Tax &amp; SME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60" name="Szöveg helye 2">
            <a:extLst>
              <a:ext uri="{FF2B5EF4-FFF2-40B4-BE49-F238E27FC236}">
                <a16:creationId xmlns:a16="http://schemas.microsoft.com/office/drawing/2014/main" id="{63AA384E-A889-09DD-7E11-828F14138EC3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3929063" y="5953124"/>
            <a:ext cx="3873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Pilot  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Kick-off</a:t>
            </a:r>
            <a:endParaRPr lang="en-US" sz="1000">
              <a:sym typeface="Lato" panose="020F0502020204030203" pitchFamily="34" charset="0"/>
            </a:endParaRP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BCC02CE-363C-4CC7-A5B2-288E902FD94F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9423400" y="3254375"/>
            <a:ext cx="8429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uce One"/>
                <a:sym typeface="Lato" panose="020F0502020204030203" pitchFamily="34" charset="0"/>
              </a:rPr>
              <a:t>Hy &amp;</a:t>
            </a:r>
            <a:r>
              <a:rPr lang="en-GB" altLang="en-US" sz="1000">
                <a:solidFill>
                  <a:srgbClr val="000000"/>
                </a:solidFill>
                <a:latin typeface="Open Sauce One"/>
                <a:sym typeface="Lato" panose="020F0502020204030203" pitchFamily="34" charset="0"/>
              </a:rPr>
              <a:t> KWS/PWC 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  <a:sym typeface="Lato" panose="020F0502020204030203" pitchFamily="34" charset="0"/>
            </a:endParaRPr>
          </a:p>
        </p:txBody>
      </p:sp>
      <p:sp>
        <p:nvSpPr>
          <p:cNvPr id="238" name="TextBox 48">
            <a:extLst>
              <a:ext uri="{FF2B5EF4-FFF2-40B4-BE49-F238E27FC236}">
                <a16:creationId xmlns:a16="http://schemas.microsoft.com/office/drawing/2014/main" id="{9C2410F6-A6D0-6311-799F-DF03C8BE76BB}"/>
              </a:ext>
            </a:extLst>
          </p:cNvPr>
          <p:cNvSpPr txBox="1"/>
          <p:nvPr/>
        </p:nvSpPr>
        <p:spPr>
          <a:xfrm>
            <a:off x="254367" y="1812925"/>
            <a:ext cx="1278281" cy="2794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PMO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</a:endParaRPr>
          </a:p>
        </p:txBody>
      </p:sp>
      <p:sp>
        <p:nvSpPr>
          <p:cNvPr id="239" name="TextBox 48">
            <a:extLst>
              <a:ext uri="{FF2B5EF4-FFF2-40B4-BE49-F238E27FC236}">
                <a16:creationId xmlns:a16="http://schemas.microsoft.com/office/drawing/2014/main" id="{05EB0E5D-E8E0-C958-C0A9-59FDB51C81EF}"/>
              </a:ext>
            </a:extLst>
          </p:cNvPr>
          <p:cNvSpPr txBox="1"/>
          <p:nvPr/>
        </p:nvSpPr>
        <p:spPr>
          <a:xfrm>
            <a:off x="254367" y="2517775"/>
            <a:ext cx="1225067" cy="4572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Pilot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</a:endParaRPr>
          </a:p>
        </p:txBody>
      </p:sp>
      <p:sp>
        <p:nvSpPr>
          <p:cNvPr id="240" name="TextBox 48">
            <a:extLst>
              <a:ext uri="{FF2B5EF4-FFF2-40B4-BE49-F238E27FC236}">
                <a16:creationId xmlns:a16="http://schemas.microsoft.com/office/drawing/2014/main" id="{F502915B-C741-72DB-2A6D-2463BF3A1AF5}"/>
              </a:ext>
            </a:extLst>
          </p:cNvPr>
          <p:cNvSpPr txBox="1"/>
          <p:nvPr/>
        </p:nvSpPr>
        <p:spPr>
          <a:xfrm>
            <a:off x="282941" y="5268914"/>
            <a:ext cx="1225067" cy="4572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Expansion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</a:endParaRPr>
          </a:p>
        </p:txBody>
      </p:sp>
      <p:sp>
        <p:nvSpPr>
          <p:cNvPr id="241" name="TextBox 48">
            <a:extLst>
              <a:ext uri="{FF2B5EF4-FFF2-40B4-BE49-F238E27FC236}">
                <a16:creationId xmlns:a16="http://schemas.microsoft.com/office/drawing/2014/main" id="{5B81A42A-9D25-02E6-E21B-A31B0651AFCF}"/>
              </a:ext>
            </a:extLst>
          </p:cNvPr>
          <p:cNvSpPr txBox="1"/>
          <p:nvPr/>
        </p:nvSpPr>
        <p:spPr>
          <a:xfrm>
            <a:off x="254367" y="4651374"/>
            <a:ext cx="1225067" cy="4572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38D5"/>
                </a:solidFill>
                <a:effectLst/>
                <a:uLnTx/>
                <a:uFillTx/>
                <a:latin typeface="Open Sauce One" panose="020B0604020202020204" charset="0"/>
                <a:ea typeface="+mn-ea"/>
                <a:cs typeface="+mn-cs"/>
              </a:rPr>
              <a:t>Roll-out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38D5"/>
              </a:solidFill>
              <a:effectLst/>
              <a:uLnTx/>
              <a:uFillTx/>
              <a:latin typeface="Open Sauce One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7824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d0_DSqHkBr2mNgCv6L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3fje84Q0.aqpjjgD29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MgCkhL_1aohUj4AZUQd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7Zs9wgTmuHMud2grxE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FpwDNW5VGZR5eg1Sh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D5oED9uCoTyTo.mEP0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QRUD58LG0UqJMVPppo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qvHDhZpii7paHSq4mO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_QQF2sDWetjV3VYKO1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Sckl3y4fYvv267t6Gk.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jsG7h_ilydvIC2PaAd5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bzO4fdBynBwHM4rpq2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wGGiMrZ3RPeCQ0Ym2M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bnrdqaEr.dTj8VJgnrs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FyohGpmLQuaECzaF7u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EjR0qIh742CJ3EGHPa6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Gs1pgC6FdT.s5.yt1Q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tH_jRbwNhjo2uhLhM6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5n5QXyvOoAHbmTQgb52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YFDeUsgRu0o1Go9GIT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bIoylDMxHC_sBfZIqh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SKXu7vSVkjKDmAfR7V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aP67Jso98fwBJT13K5K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Sx0v6mlEmTTi5sO9Plb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W51M3GC93qS_nHklUYc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MHXyneu70rP1RXJV6MM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ovVipbtQeMnp7r4XudZ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vtWoWl10DBBuqQtuVv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QyrROOBa83C.aG3JucB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9k.A.pYSf1eDFMXpUm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d_L5kzKh1XPNbMG7Bv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HBVSO06eIEkO2nXgRH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OjhqwyjY92amAq.lmp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qaWXCmrdF6wfk04hPM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2axu9R7Gf.rJ0rq5cN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sKj4f0raK2YKqwjZpQZ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2Tt5ngkSV.jegC8fs_7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w2baV3.dWnMNIoTUYo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2Ins_p5kJTBUl5ToOFi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eThAmmRa93FiL1V2s1r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7xklb5t6guHIodD.qPl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yY1bRVD0Xp8qzMGDT9V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O61Fi38Rb1XgUQf_JK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wi8ovV.lbXfwWuDTwp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UgVa0ZRIgoNpP0VnfO6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hAY8_HikXqVVHalK4R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mB8mv6sAJnQk6Ha1zNz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mLDg2lKoMFZ4pZ6Aq6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vLINtmkCxZJYWum3ig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k7gKSDkOz4eH7J.ZdO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q64lz.tWHbdiOdZxgWV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QQ4VJbkOEPVGr.8bYLs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fbwnNRVyvkCIW9EdEL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8xHADRT8eb8h2l2cz7a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v3m3PeV8ZMbk.9pDxBX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nZPXOIHtp4WNmTcZ2nJ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el9ybyF7EHK9tPl78VQ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.VlHQv7e8IBxRanhry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zGHvRA.JfoaXeY_EN5q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jM6aVkQ0qN6DpaAsBCl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CzlXRCgJlqdb44_WWrX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BpCVYlIHAQVC5TNI61K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9jnMl3xp9GY8LMn4S4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etIo3NX321nI_1qPC8T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g13sAcqjLeACm6FJIc8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6GhZ4lUXJKMfD.a3WY7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ltgvQeHKNAfdjFHPSDT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C64qnc9tDdcLuof7dt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1D15BQ2eAH9T.QRc.Y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uFd1teOHEZLNrsJ.2j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RXJqP2Cao1cU7oy1Pxk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vEZuKTTjTkrL1TMot0U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FJuv_sZKuQId2IqxVoe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6LdR1bInszi28ZuNLwj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SrCkcbDGyyvNS7S3oW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IUPfJaTBTeTQAjAZx10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uYxZ3cgcO0TNKdSLNTr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t5rF1JmZQofxNPPyVv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497D76AF6F2DA4CA5AFC0385F3642EE" ma:contentTypeVersion="8" ma:contentTypeDescription="Create a new document." ma:contentTypeScope="" ma:versionID="3341288d414c4b7c9a2a752cb7791270">
  <xsd:schema xmlns:xsd="http://www.w3.org/2001/XMLSchema" xmlns:xs="http://www.w3.org/2001/XMLSchema" xmlns:p="http://schemas.microsoft.com/office/2006/metadata/properties" xmlns:ns2="997c7c9d-4912-4fbf-81b0-9eda5183b49e" targetNamespace="http://schemas.microsoft.com/office/2006/metadata/properties" ma:root="true" ma:fieldsID="e7d67b7538c4e056fd9581e5b5c01322" ns2:_="">
    <xsd:import namespace="997c7c9d-4912-4fbf-81b0-9eda5183b4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7c7c9d-4912-4fbf-81b0-9eda5183b4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97C83E4-C774-4FCD-B5F0-EBC06B89C7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97c7c9d-4912-4fbf-81b0-9eda5183b4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AD2F3AC-88EC-420A-9944-99471C836986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  <ds:schemaRef ds:uri="997c7c9d-4912-4fbf-81b0-9eda5183b49e"/>
    <ds:schemaRef ds:uri="http://purl.org/dc/elements/1.1/"/>
    <ds:schemaRef ds:uri="http://purl.org/dc/dcmitype/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62</TotalTime>
  <Words>360</Words>
  <Application>Microsoft Macintosh PowerPoint</Application>
  <PresentationFormat>Widescreen</PresentationFormat>
  <Paragraphs>134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Lato</vt:lpstr>
      <vt:lpstr>Open Sauce One</vt:lpstr>
      <vt:lpstr>Hypatos-theme</vt:lpstr>
      <vt:lpstr>think-cell Slide</vt:lpstr>
      <vt:lpstr>Next Generation AI for Document Automation – Accounts Payables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PowerPoint Presentation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Yavuz Güney</cp:lastModifiedBy>
  <cp:revision>32</cp:revision>
  <dcterms:created xsi:type="dcterms:W3CDTF">2023-03-02T14:07:47Z</dcterms:created>
  <dcterms:modified xsi:type="dcterms:W3CDTF">2024-10-02T13:09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497D76AF6F2DA4CA5AFC0385F3642EE</vt:lpwstr>
  </property>
  <property fmtid="{D5CDD505-2E9C-101B-9397-08002B2CF9AE}" pid="3" name="MediaServiceImageTags">
    <vt:lpwstr/>
  </property>
</Properties>
</file>